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407" r:id="rId4"/>
    <p:sldId id="461" r:id="rId5"/>
    <p:sldId id="463" r:id="rId6"/>
    <p:sldId id="465" r:id="rId7"/>
    <p:sldId id="466" r:id="rId8"/>
    <p:sldId id="462" r:id="rId9"/>
    <p:sldId id="467" r:id="rId10"/>
    <p:sldId id="329" r:id="rId11"/>
  </p:sldIdLst>
  <p:sldSz cx="9906000" cy="6858000" type="A4"/>
  <p:notesSz cx="6797675" cy="987425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07" autoAdjust="0"/>
    <p:restoredTop sz="96957" autoAdjust="0"/>
  </p:normalViewPr>
  <p:slideViewPr>
    <p:cSldViewPr>
      <p:cViewPr>
        <p:scale>
          <a:sx n="90" d="100"/>
          <a:sy n="90" d="100"/>
        </p:scale>
        <p:origin x="-1536" y="-72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4/1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4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347982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2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350000" y="6427222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</a:t>
            </a:r>
            <a:r>
              <a:rPr lang="en-US" sz="800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Hadoop</a:t>
            </a:r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Developer_Slides-Module01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1" r:id="rId11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hortonassets.s3.amazonaws.com/2.2.4/Sandbox_HDP_2.2.4.2_VMWare.ova" TargetMode="External"/><Relationship Id="rId2" Type="http://schemas.openxmlformats.org/officeDocument/2006/relationships/hyperlink" Target="http://vmware-player.en.softonic.com/" TargetMode="Externa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1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en-US" sz="1600" b="1" dirty="0" smtClean="0"/>
              <a:t>Apache Hadoop Session  Details</a:t>
            </a:r>
            <a:endParaRPr lang="fr-FR" sz="2400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r>
              <a:rPr lang="en-US" b="1" dirty="0" smtClean="0"/>
              <a:t>Big  Data Training </a:t>
            </a:r>
            <a:r>
              <a:rPr lang="en-US" b="1" dirty="0" err="1" smtClean="0"/>
              <a:t>Programme</a:t>
            </a:r>
            <a:endParaRPr lang="fr-FR" sz="40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609600" y="1676400"/>
            <a:ext cx="9144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00" b="1" dirty="0" smtClean="0"/>
          </a:p>
          <a:p>
            <a:pPr>
              <a:buFont typeface="Wingdings" pitchFamily="2" charset="2"/>
              <a:buChar char="§"/>
            </a:pPr>
            <a:endParaRPr lang="en-US" sz="1800" b="1" dirty="0" smtClean="0"/>
          </a:p>
          <a:p>
            <a:pPr>
              <a:buFont typeface="Wingdings" pitchFamily="2" charset="2"/>
              <a:buChar char="§"/>
            </a:pPr>
            <a:r>
              <a:rPr lang="en-US" sz="1800" b="1" dirty="0" smtClean="0"/>
              <a:t> Apache Hadoop Big Data Developer Course ( 5 Days )</a:t>
            </a:r>
          </a:p>
          <a:p>
            <a:pPr>
              <a:buFont typeface="Wingdings" pitchFamily="2" charset="2"/>
              <a:buChar char="§"/>
            </a:pPr>
            <a:endParaRPr lang="en-US" sz="1800" b="1" dirty="0" smtClean="0"/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r>
              <a:rPr lang="en-US" b="1" dirty="0" smtClean="0"/>
              <a:t>Apache Hadoop Big Data Developer - Details</a:t>
            </a:r>
            <a:endParaRPr lang="fr-FR" sz="4000" b="1" dirty="0" smtClean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685800" y="838200"/>
          <a:ext cx="9067800" cy="5324244"/>
        </p:xfrm>
        <a:graphic>
          <a:graphicData uri="http://schemas.openxmlformats.org/drawingml/2006/table">
            <a:tbl>
              <a:tblPr/>
              <a:tblGrid>
                <a:gridCol w="2487626"/>
                <a:gridCol w="5242304"/>
                <a:gridCol w="1337870"/>
              </a:tblGrid>
              <a:tr h="165267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raining Details &amp; Plan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BE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52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tem List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Description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Owner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165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raining Type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nstructor led Virtual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Session or Class Room Session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ourse Name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pache Developer using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Pig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, Hive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and 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park  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58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ourse Overview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This 5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days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ands-on training course delivers the key concepts and expertise participants on data ingesting, data storage and data processing tools includes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hdfs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commands,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sqoop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flume,hdfs,map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reduce,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pig,hive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,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hbase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and spark etc.</a:t>
                      </a:r>
                    </a:p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/>
                      </a:r>
                      <a:b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This training course helps one to prepare for the real-world challenges faced by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Hadoop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developers. Participants learn to identify which tool is the right one to use in a given situation, and will gain hands-on experience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67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ourse Pre-requistes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Knowledge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f SQL, DWH Concepts, Linux Programming, having programming language is added advantages 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7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rget Audience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is course is designed for developers and engineers who have programming experience.</a:t>
                      </a:r>
                      <a:b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articipant Country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Global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and Indi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90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tal Duration 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20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rs  - Theory -   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ys a week-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rs / day  - Total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 day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rainer 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rs  - Practical -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ys a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week-- 4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rs / day  - Total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articipan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aily Time Slot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 Hours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during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India office hours  ( Virtual/</a:t>
                      </a:r>
                      <a:r>
                        <a:rPr lang="en-US" sz="1100" b="0" i="0" u="none" strike="noStrike" baseline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ClassRoom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Session ) </a:t>
                      </a:r>
                    </a:p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(After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ffice hours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if  requested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by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e onsite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teams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9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ession Week Days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Monday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to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Fridays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( Days can be customized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ourse Content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vailable in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Troo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MO/Train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26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ourse Training Material 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vailable in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Troo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PMO/Train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90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ractical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articipants to complete the lab exercises on their own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articipants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0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e first 30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min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of the training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n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 set aside for checking on the lab exercises done and clearing doubts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rainer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56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ssessment </a:t>
                      </a: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I-Compass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ssessment one week from the date of completing the training 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Participan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8212">
                <a:tc>
                  <a:txBody>
                    <a:bodyPr/>
                    <a:lstStyle/>
                    <a:p>
                      <a:pPr marL="0" marR="0" indent="0" algn="l" defTabSz="91434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Remark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509" marR="2509" marT="250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SMEs 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/ 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Trainer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can also help the participants in  lab doubts &amp; issues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Trainer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509" marR="2509" marT="25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r>
              <a:rPr lang="en-US" b="1" dirty="0" smtClean="0"/>
              <a:t> Apache Hadoop Developer Course - Training Plan</a:t>
            </a:r>
            <a:endParaRPr lang="fr-FR" b="1" dirty="0" smtClean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761998" y="838200"/>
          <a:ext cx="8001002" cy="5482222"/>
        </p:xfrm>
        <a:graphic>
          <a:graphicData uri="http://schemas.openxmlformats.org/drawingml/2006/table">
            <a:tbl>
              <a:tblPr/>
              <a:tblGrid>
                <a:gridCol w="1376031"/>
                <a:gridCol w="1519572"/>
                <a:gridCol w="3478949"/>
                <a:gridCol w="524993"/>
                <a:gridCol w="607345"/>
                <a:gridCol w="494112"/>
              </a:tblGrid>
              <a:tr h="31161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y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opic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ub-Topic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eory (Hrs) with dem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Lab Exercises (Hrs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Total Duration (Hrs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93484">
                <a:tc rowSpan="18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y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ntroduction to Big Dat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xplosive of Dat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imensions of Big Dat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nnovation Behind Big Dat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ig Data application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n enterprise data life cycl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ig Data use Ca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ig Data Framework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1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Hadoop Insight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equirement for new approach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1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1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2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doop overview, components,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What Makes Apache Hadoop more useful?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doop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ummiter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elational Database Vs Hadoop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ow files are stored in Hadoop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Name node and data node availability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DFS Command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verview of Hadoop 2.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verview of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Hortonwork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Hortonwork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with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Ambari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452">
                <a:tc rowSpan="13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y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An Introduction to YAR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verview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Inputting Data into HDF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ptions for Data Input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.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.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e Hadoop Client, web HDF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verview of Flum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verview of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Sqoo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36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mporting a Table, through specific columns, using query from RDBMS into HDF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xporting HDFS Data to a RDBM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Map Redu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e Concepts behind MAP Redu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.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.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ow Hadoop Cluster Operat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e Map Reduce Flow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asic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MapReduc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Concept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02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ow to write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MapReduc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drivers,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Mapper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, and Reducers clas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o on Map Redu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rowSpan="9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y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9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ig Programming -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What  is  Pig? 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ig’s  Features 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ig  Use  Cases 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nteracting  with  Pig 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he Basic syntax of pi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lati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ow to load and store data using Pi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ata types of pi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lati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rting and filtering data in pi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34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ig built-in functions for data processin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r>
              <a:rPr lang="en-US" b="1" dirty="0" smtClean="0"/>
              <a:t> Apache Hadoop Developer Course  - Training Plan ( Cont..)</a:t>
            </a:r>
            <a:endParaRPr lang="fr-FR" b="1" dirty="0" smtClean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685800" y="990600"/>
          <a:ext cx="8915399" cy="5229963"/>
        </p:xfrm>
        <a:graphic>
          <a:graphicData uri="http://schemas.openxmlformats.org/drawingml/2006/table">
            <a:tbl>
              <a:tblPr/>
              <a:tblGrid>
                <a:gridCol w="1018902"/>
                <a:gridCol w="1783080"/>
                <a:gridCol w="4075610"/>
                <a:gridCol w="849085"/>
                <a:gridCol w="679267"/>
                <a:gridCol w="509455"/>
              </a:tblGrid>
              <a:tr h="4268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Day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pic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Sub-Topic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heory (Hrs) with demo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b Exercises (Hrs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 Duration (Hrs)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42295"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ay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ig Programming -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ig uses - bags,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tuple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 map to represent complex data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rouping and ungrouping data in pig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ggregate functions in pi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lati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terate through records in complex data structur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rouping to combine data from multiple sourc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join operation in pi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lati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oncatenate records and splitting data set into multiple relations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usage of UDF in pi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lati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9633">
                <a:tc rowSpan="17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Day4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15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ive Programming 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WhatHiv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is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5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15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15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how hive defers from RDBM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Hive Uses Cas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Hive Architectur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nteracting with hive engin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xploring database and tables in hiv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iveQL syntax compares to SQL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Data types in Hiv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ypes of join operations supported by Hiv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uilt-in functions in hiv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reating and altering tables in hiv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oading and accessing data into hive tabl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use of functions, formatting numeric values, regular expression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Wordkount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problem using hive query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usage of UDF in hiv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95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n Introduction to Oozi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ntroduction to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Oozi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b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b"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reating Oozie Workflow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ay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914342" rtl="0" eaLnBrk="1" fontAlgn="b" latinLnBrk="0" hangingPunct="1"/>
                      <a:r>
                        <a:rPr lang="en-US" sz="1000" b="1" i="0" u="none" strike="noStrike" kern="1200" dirty="0" err="1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Hbase</a:t>
                      </a:r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342" rtl="0" eaLnBrk="1" fontAlgn="b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An overview of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Hbase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n introduction to SPARK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Why Spark?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845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What problems exist with traditional large-scale computing system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How Spark addresses those issue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963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Spark Basics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2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Working With RDDs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565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tal Number of Hou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r>
              <a:rPr lang="en-US" b="1" dirty="0" smtClean="0"/>
              <a:t>Apache Hadoop  Session  - Lab Requirement</a:t>
            </a:r>
            <a:endParaRPr lang="fr-FR" sz="40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609600" y="1132344"/>
            <a:ext cx="914400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The following set up is required  on participants laptop/Desktop  for hands on for Big data applications</a:t>
            </a:r>
            <a:r>
              <a:rPr lang="en-US" sz="1200" dirty="0" smtClean="0"/>
              <a:t>.</a:t>
            </a:r>
          </a:p>
          <a:p>
            <a:r>
              <a:rPr lang="en-US" sz="1200" dirty="0" smtClean="0"/>
              <a:t> 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smtClean="0"/>
              <a:t>Machine with minimum 8 GB RAM 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err="1" smtClean="0"/>
              <a:t>Vmware</a:t>
            </a:r>
            <a:r>
              <a:rPr lang="en-US" sz="1400" dirty="0" smtClean="0"/>
              <a:t> player: can download from </a:t>
            </a:r>
            <a:r>
              <a:rPr lang="en-US" sz="1400" u="sng" dirty="0" smtClean="0">
                <a:hlinkClick r:id="rId2"/>
              </a:rPr>
              <a:t>http://vmware-player.en.softonic.com/</a:t>
            </a:r>
            <a:r>
              <a:rPr lang="en-US" sz="1400" dirty="0" smtClean="0"/>
              <a:t>   -- (Free ware )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err="1" smtClean="0"/>
              <a:t>Hortonworks</a:t>
            </a:r>
            <a:r>
              <a:rPr lang="en-US" sz="1400" dirty="0" smtClean="0"/>
              <a:t> sandbox: Can be downloaded from </a:t>
            </a:r>
            <a:r>
              <a:rPr lang="en-US" sz="1400" u="sng" dirty="0" smtClean="0">
                <a:hlinkClick r:id="rId3"/>
              </a:rPr>
              <a:t>http://hortonassets.s3.amazonaws.com/2.2.4/Sandbox_HDP_2.2.4.2_VMWare.ova</a:t>
            </a:r>
            <a:r>
              <a:rPr lang="en-US" sz="1400" dirty="0" smtClean="0"/>
              <a:t>    -- (Free ware )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smtClean="0"/>
              <a:t>Putty0.6  - Free ware    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smtClean="0"/>
              <a:t>File </a:t>
            </a:r>
            <a:r>
              <a:rPr lang="en-US" sz="1400" dirty="0" err="1" smtClean="0"/>
              <a:t>Zilla</a:t>
            </a:r>
            <a:r>
              <a:rPr lang="en-US" sz="1400" dirty="0" smtClean="0"/>
              <a:t>/Win SCP: To copy required files from local disk to VM image (Free ware )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smtClean="0"/>
              <a:t>Admin Rights 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smtClean="0"/>
              <a:t>Virtualization should be enabled from BIOS </a:t>
            </a:r>
          </a:p>
          <a:p>
            <a:pPr lvl="0">
              <a:buFont typeface="Arial" pitchFamily="34" charset="0"/>
              <a:buChar char="•"/>
            </a:pPr>
            <a:r>
              <a:rPr lang="en-US" sz="1400" dirty="0" smtClean="0"/>
              <a:t>Audio should be enabled to connect from </a:t>
            </a:r>
            <a:r>
              <a:rPr lang="en-US" sz="1400" dirty="0" err="1" smtClean="0"/>
              <a:t>Lync</a:t>
            </a:r>
            <a:r>
              <a:rPr lang="en-US" sz="1400" dirty="0" smtClean="0"/>
              <a:t> </a:t>
            </a: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r>
              <a:rPr lang="en-US" b="1" dirty="0" smtClean="0"/>
              <a:t>Apache Hadoop  Training Session  - FAQ</a:t>
            </a:r>
            <a:endParaRPr lang="fr-FR" sz="40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609600" y="838200"/>
            <a:ext cx="91440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Whether trainer will get project code for expenses &amp;  training hours ?</a:t>
            </a:r>
          </a:p>
          <a:p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    	Yes , The trainer will get project code for the training session hours , Travel &amp; accommodations expenses</a:t>
            </a: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 Do we have training material ready for the Course ?</a:t>
            </a:r>
          </a:p>
          <a:p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                      Yes , Training material is ready and Bhuvana Ravunniarath will give access to  trainers to </a:t>
            </a: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Troom</a:t>
            </a:r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Will any one help the participants during/after session ?</a:t>
            </a:r>
          </a:p>
          <a:p>
            <a:pPr lvl="2"/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Yes , SMEs / Trainer can help in any doubt  or issues in practical </a:t>
            </a: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Do we have lab sessions for participants in Virtual instructor led training session?</a:t>
            </a:r>
          </a:p>
          <a:p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                      No ,Trainer will give demo of application/tools</a:t>
            </a: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Who will do </a:t>
            </a: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Hortonworks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Sandbox and required application setup in Lab Machines or Participants laptop?</a:t>
            </a:r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2"/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Local L&amp;D team/Participants with the help of ITICS</a:t>
            </a: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IG-01_Big Data Overview_Training_1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I&amp;D-New">
    <a:dk1>
      <a:srgbClr val="263147"/>
    </a:dk1>
    <a:lt1>
      <a:sysClr val="window" lastClr="FFFFFF"/>
    </a:lt1>
    <a:dk2>
      <a:srgbClr val="909090"/>
    </a:dk2>
    <a:lt2>
      <a:srgbClr val="998C85"/>
    </a:lt2>
    <a:accent1>
      <a:srgbClr val="263147"/>
    </a:accent1>
    <a:accent2>
      <a:srgbClr val="0098C7"/>
    </a:accent2>
    <a:accent3>
      <a:srgbClr val="B7BE16"/>
    </a:accent3>
    <a:accent4>
      <a:srgbClr val="598E20"/>
    </a:accent4>
    <a:accent5>
      <a:srgbClr val="762C7C"/>
    </a:accent5>
    <a:accent6>
      <a:srgbClr val="AC2B37"/>
    </a:accent6>
    <a:hlink>
      <a:srgbClr val="E47E1A"/>
    </a:hlink>
    <a:folHlink>
      <a:srgbClr val="C167C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IG-01_Big Data Overview_Training_1</Template>
  <TotalTime>3473</TotalTime>
  <Words>784</Words>
  <Application>Microsoft Office PowerPoint</Application>
  <PresentationFormat>A4 Paper (210x297 mm)</PresentationFormat>
  <Paragraphs>227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IG-01_Big Data Overview_Training_1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Big  Data Training Programme</vt:lpstr>
      <vt:lpstr>Apache Hadoop Big Data Developer - Details</vt:lpstr>
      <vt:lpstr> Apache Hadoop Developer Course - Training Plan</vt:lpstr>
      <vt:lpstr> Apache Hadoop Developer Course  - Training Plan ( Cont..)</vt:lpstr>
      <vt:lpstr>Apache Hadoop  Session  - Lab Requirement</vt:lpstr>
      <vt:lpstr>Apache Hadoop  Training Session  - FAQ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ilalwani</cp:lastModifiedBy>
  <cp:revision>236</cp:revision>
  <dcterms:created xsi:type="dcterms:W3CDTF">2015-07-09T08:35:18Z</dcterms:created>
  <dcterms:modified xsi:type="dcterms:W3CDTF">2017-04-18T11:49:08Z</dcterms:modified>
</cp:coreProperties>
</file>